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168_0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63" r:id="rId12"/>
  </p:sldMasterIdLst>
  <p:notesMasterIdLst>
    <p:notesMasterId r:id="rId14"/>
  </p:notesMasterIdLst>
  <p:sldIdLst>
    <p:sldId id="360" r:id="rId13"/>
  </p:sldIdLst>
  <p:sldSz cx="9144000" cy="5143500" type="screen16x9"/>
  <p:notesSz cx="6858000" cy="9144000"/>
  <p:embeddedFontLst>
    <p:embeddedFont>
      <p:font typeface="Exo" panose="020B0604020202020204" charset="0"/>
      <p:regular r:id="rId15"/>
      <p:bold r:id="rId16"/>
      <p:italic r:id="rId17"/>
      <p:boldItalic r:id="rId18"/>
    </p:embeddedFont>
    <p:embeddedFont>
      <p:font typeface="Exo Light" panose="020B0604020202020204" charset="0"/>
      <p:regular r:id="rId19"/>
      <p:bold r:id="rId20"/>
      <p:italic r:id="rId21"/>
      <p:boldItalic r:id="rId22"/>
    </p:embeddedFont>
    <p:embeddedFont>
      <p:font typeface="Exo SemiBold" panose="020B0604020202020204" charset="0"/>
      <p:regular r:id="rId23"/>
      <p:bold r:id="rId24"/>
      <p:italic r:id="rId25"/>
      <p:boldItalic r:id="rId26"/>
    </p:embeddedFont>
    <p:embeddedFont>
      <p:font typeface="Nunito Light" pitchFamily="2" charset="0"/>
      <p:regular r:id="rId27"/>
      <p:italic r:id="rId28"/>
    </p:embeddedFont>
    <p:embeddedFont>
      <p:font typeface="Playfair Display SemiBold" panose="020B0604020202020204" charset="0"/>
      <p:regular r:id="rId29"/>
      <p:bold r:id="rId30"/>
      <p:italic r:id="rId31"/>
      <p:boldItalic r:id="rId3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6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91" y="91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21" Type="http://schemas.openxmlformats.org/officeDocument/2006/relationships/font" Target="fonts/font7.fntdata"/><Relationship Id="rId89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font" Target="fonts/font10.fntdata"/><Relationship Id="rId32" Type="http://schemas.openxmlformats.org/officeDocument/2006/relationships/font" Target="fonts/font18.fntdata"/><Relationship Id="rId87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90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font" Target="fonts/font5.fntdata"/><Relationship Id="rId31" Type="http://schemas.openxmlformats.org/officeDocument/2006/relationships/font" Target="fonts/font17.fntdata"/><Relationship Id="rId86" Type="http://customschemas.google.com/relationships/presentationmetadata" Target="meta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/Relationships>
</file>

<file path=ppt/comments/modernComment_168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27E4B48-B629-4D65-9ABA-70EF91E1BC47}" authorId="{EC28B4B0-6701-2EAD-4AFD-41CFFF8EDE08}" created="2025-05-27T21:31:40.339">
    <pc:sldMkLst xmlns:pc="http://schemas.microsoft.com/office/powerpoint/2013/main/command">
      <pc:docMk/>
      <pc:sldMk cId="0" sldId="360"/>
    </pc:sldMkLst>
    <p188:txBody>
      <a:bodyPr/>
      <a:lstStyle/>
      <a:p>
        <a:r>
          <a:rPr lang="en-US"/>
          <a:t>Align icon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1" name="Google Shape;5301;g13faa54b27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302" name="Google Shape;5302;g13faa54b27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332663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243461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9781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 Summary">
  <p:cSld name="20 Summary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/>
          <p:nvPr/>
        </p:nvSpPr>
        <p:spPr>
          <a:xfrm rot="10800000">
            <a:off x="5158500" y="-30925"/>
            <a:ext cx="3985500" cy="6579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981CBC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52;p13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53" name="Google Shape;53;p1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047784" y="4763867"/>
            <a:ext cx="628648" cy="92425"/>
          </a:xfrm>
          <a:prstGeom prst="rect">
            <a:avLst/>
          </a:prstGeom>
          <a:noFill/>
          <a:ln>
            <a:noFill/>
          </a:ln>
        </p:spPr>
      </p:pic>
      <p:sp>
        <p:nvSpPr>
          <p:cNvPr id="54" name="Google Shape;54;p13"/>
          <p:cNvSpPr txBox="1"/>
          <p:nvPr/>
        </p:nvSpPr>
        <p:spPr>
          <a:xfrm>
            <a:off x="457200" y="1342650"/>
            <a:ext cx="2396100" cy="12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" sz="900" b="1">
                <a:solidFill>
                  <a:srgbClr val="000D42"/>
                </a:solidFill>
                <a:latin typeface="Exo"/>
                <a:ea typeface="Exo"/>
                <a:cs typeface="Exo"/>
                <a:sym typeface="Exo"/>
              </a:rPr>
              <a:t>The Challenge</a:t>
            </a:r>
            <a:endParaRPr sz="800">
              <a:solidFill>
                <a:srgbClr val="000D4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55" name="Google Shape;55;p13"/>
          <p:cNvSpPr txBox="1"/>
          <p:nvPr/>
        </p:nvSpPr>
        <p:spPr>
          <a:xfrm>
            <a:off x="3041171" y="1342650"/>
            <a:ext cx="2613900" cy="12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" sz="900" b="1">
                <a:solidFill>
                  <a:srgbClr val="000D42"/>
                </a:solidFill>
                <a:latin typeface="Exo"/>
                <a:ea typeface="Exo"/>
                <a:cs typeface="Exo"/>
                <a:sym typeface="Exo"/>
              </a:rPr>
              <a:t>What We Did</a:t>
            </a:r>
            <a:endParaRPr sz="800">
              <a:solidFill>
                <a:srgbClr val="000D4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56" name="Google Shape;56;p13"/>
          <p:cNvSpPr txBox="1"/>
          <p:nvPr/>
        </p:nvSpPr>
        <p:spPr>
          <a:xfrm>
            <a:off x="457200" y="2896800"/>
            <a:ext cx="2094000" cy="18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" sz="900" b="1">
                <a:solidFill>
                  <a:srgbClr val="000D42"/>
                </a:solidFill>
                <a:latin typeface="Exo"/>
                <a:ea typeface="Exo"/>
                <a:cs typeface="Exo"/>
                <a:sym typeface="Exo"/>
              </a:rPr>
              <a:t>Outcomes</a:t>
            </a:r>
            <a:endParaRPr sz="800">
              <a:solidFill>
                <a:srgbClr val="000D4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57" name="Google Shape;57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13"/>
          <p:cNvSpPr/>
          <p:nvPr/>
        </p:nvSpPr>
        <p:spPr>
          <a:xfrm>
            <a:off x="199775" y="137100"/>
            <a:ext cx="1937700" cy="183000"/>
          </a:xfrm>
          <a:prstGeom prst="roundRect">
            <a:avLst>
              <a:gd name="adj" fmla="val 16667"/>
            </a:avLst>
          </a:prstGeom>
          <a:solidFill>
            <a:srgbClr val="E90A6D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00" b="1">
              <a:solidFill>
                <a:srgbClr val="FFFFFF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311700" y="790275"/>
            <a:ext cx="83649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60" name="Google Shape;60;p13"/>
          <p:cNvSpPr txBox="1">
            <a:spLocks noGrp="1"/>
          </p:cNvSpPr>
          <p:nvPr>
            <p:ph type="subTitle" idx="2"/>
          </p:nvPr>
        </p:nvSpPr>
        <p:spPr>
          <a:xfrm>
            <a:off x="199775" y="60750"/>
            <a:ext cx="19377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1" name="Google Shape;61;p13"/>
          <p:cNvSpPr txBox="1">
            <a:spLocks noGrp="1"/>
          </p:cNvSpPr>
          <p:nvPr>
            <p:ph type="title" idx="3"/>
          </p:nvPr>
        </p:nvSpPr>
        <p:spPr>
          <a:xfrm>
            <a:off x="345775" y="3817050"/>
            <a:ext cx="4717800" cy="705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62" name="Google Shape;62;p13"/>
          <p:cNvSpPr txBox="1">
            <a:spLocks noGrp="1"/>
          </p:cNvSpPr>
          <p:nvPr>
            <p:ph type="subTitle" idx="4"/>
          </p:nvPr>
        </p:nvSpPr>
        <p:spPr>
          <a:xfrm>
            <a:off x="394475" y="4502375"/>
            <a:ext cx="46692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Exo Light"/>
              <a:buNone/>
              <a:defRPr sz="800" i="1">
                <a:latin typeface="Exo Light"/>
                <a:ea typeface="Exo Light"/>
                <a:cs typeface="Exo Light"/>
                <a:sym typeface="Ex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63" name="Google Shape;63;p13"/>
          <p:cNvSpPr txBox="1">
            <a:spLocks noGrp="1"/>
          </p:cNvSpPr>
          <p:nvPr>
            <p:ph type="body" idx="5"/>
          </p:nvPr>
        </p:nvSpPr>
        <p:spPr>
          <a:xfrm>
            <a:off x="457200" y="1519800"/>
            <a:ext cx="2224500" cy="132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85750" rtl="0">
              <a:spcBef>
                <a:spcPts val="0"/>
              </a:spcBef>
              <a:spcAft>
                <a:spcPts val="0"/>
              </a:spcAft>
              <a:buSzPts val="900"/>
              <a:buFont typeface="Exo Light"/>
              <a:buChar char="●"/>
              <a:defRPr sz="900"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rtl="0">
              <a:spcBef>
                <a:spcPts val="1600"/>
              </a:spcBef>
              <a:spcAft>
                <a:spcPts val="160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  <p:sp>
        <p:nvSpPr>
          <p:cNvPr id="64" name="Google Shape;64;p13"/>
          <p:cNvSpPr txBox="1">
            <a:spLocks noGrp="1"/>
          </p:cNvSpPr>
          <p:nvPr>
            <p:ph type="body" idx="6"/>
          </p:nvPr>
        </p:nvSpPr>
        <p:spPr>
          <a:xfrm>
            <a:off x="2950675" y="1519800"/>
            <a:ext cx="2162700" cy="132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85750" rtl="0">
              <a:spcBef>
                <a:spcPts val="0"/>
              </a:spcBef>
              <a:spcAft>
                <a:spcPts val="0"/>
              </a:spcAft>
              <a:buSzPts val="900"/>
              <a:buFont typeface="Exo Light"/>
              <a:buChar char="●"/>
              <a:defRPr sz="900"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rtl="0">
              <a:spcBef>
                <a:spcPts val="1600"/>
              </a:spcBef>
              <a:spcAft>
                <a:spcPts val="160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  <p:sp>
        <p:nvSpPr>
          <p:cNvPr id="65" name="Google Shape;65;p13"/>
          <p:cNvSpPr txBox="1">
            <a:spLocks noGrp="1"/>
          </p:cNvSpPr>
          <p:nvPr>
            <p:ph type="body" idx="7"/>
          </p:nvPr>
        </p:nvSpPr>
        <p:spPr>
          <a:xfrm>
            <a:off x="457200" y="3070700"/>
            <a:ext cx="4606500" cy="786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85750" rtl="0">
              <a:spcBef>
                <a:spcPts val="0"/>
              </a:spcBef>
              <a:spcAft>
                <a:spcPts val="0"/>
              </a:spcAft>
              <a:buSzPts val="900"/>
              <a:buFont typeface="Exo Light"/>
              <a:buChar char="●"/>
              <a:defRPr sz="900"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2pPr>
            <a:lvl3pPr marL="1371600" lvl="2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3pPr>
            <a:lvl4pPr marL="1828800" lvl="3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4pPr>
            <a:lvl5pPr marL="2286000" lvl="4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5pPr>
            <a:lvl6pPr marL="2743200" lvl="5" indent="-285750" rtl="0">
              <a:spcBef>
                <a:spcPts val="1600"/>
              </a:spcBef>
              <a:spcAft>
                <a:spcPts val="0"/>
              </a:spcAft>
              <a:buSzPts val="900"/>
              <a:buChar char="■"/>
              <a:defRPr sz="900"/>
            </a:lvl6pPr>
            <a:lvl7pPr marL="3200400" lvl="6" indent="-285750" rtl="0">
              <a:spcBef>
                <a:spcPts val="1600"/>
              </a:spcBef>
              <a:spcAft>
                <a:spcPts val="0"/>
              </a:spcAft>
              <a:buSzPts val="900"/>
              <a:buChar char="●"/>
              <a:defRPr sz="900"/>
            </a:lvl7pPr>
            <a:lvl8pPr marL="3657600" lvl="7" indent="-285750" rtl="0">
              <a:spcBef>
                <a:spcPts val="1600"/>
              </a:spcBef>
              <a:spcAft>
                <a:spcPts val="0"/>
              </a:spcAft>
              <a:buSzPts val="900"/>
              <a:buChar char="○"/>
              <a:defRPr sz="900"/>
            </a:lvl8pPr>
            <a:lvl9pPr marL="4114800" lvl="8" indent="-285750" rtl="0">
              <a:spcBef>
                <a:spcPts val="1600"/>
              </a:spcBef>
              <a:spcAft>
                <a:spcPts val="1600"/>
              </a:spcAft>
              <a:buSzPts val="900"/>
              <a:buChar char="■"/>
              <a:defRPr sz="9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852074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.2 Half multi column 6">
  <p:cSld name="21.2 Half multi column 6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4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68" name="Google Shape;68;p1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047784" y="4763867"/>
            <a:ext cx="628648" cy="92425"/>
          </a:xfrm>
          <a:prstGeom prst="rect">
            <a:avLst/>
          </a:prstGeom>
          <a:noFill/>
          <a:ln>
            <a:noFill/>
          </a:ln>
        </p:spPr>
      </p:pic>
      <p:sp>
        <p:nvSpPr>
          <p:cNvPr id="69" name="Google Shape;69;p14"/>
          <p:cNvSpPr/>
          <p:nvPr/>
        </p:nvSpPr>
        <p:spPr>
          <a:xfrm>
            <a:off x="477350" y="1316700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70;p14"/>
          <p:cNvSpPr/>
          <p:nvPr/>
        </p:nvSpPr>
        <p:spPr>
          <a:xfrm>
            <a:off x="477350" y="2876175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71;p14"/>
          <p:cNvSpPr/>
          <p:nvPr/>
        </p:nvSpPr>
        <p:spPr>
          <a:xfrm>
            <a:off x="3302100" y="1316700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" name="Google Shape;72;p14"/>
          <p:cNvSpPr/>
          <p:nvPr/>
        </p:nvSpPr>
        <p:spPr>
          <a:xfrm>
            <a:off x="6126850" y="1316700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" name="Google Shape;73;p14"/>
          <p:cNvSpPr/>
          <p:nvPr/>
        </p:nvSpPr>
        <p:spPr>
          <a:xfrm>
            <a:off x="3302100" y="2876175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" name="Google Shape;74;p14"/>
          <p:cNvSpPr/>
          <p:nvPr/>
        </p:nvSpPr>
        <p:spPr>
          <a:xfrm>
            <a:off x="6126850" y="2876175"/>
            <a:ext cx="2539800" cy="1337400"/>
          </a:xfrm>
          <a:prstGeom prst="roundRect">
            <a:avLst>
              <a:gd name="adj" fmla="val 7151"/>
            </a:avLst>
          </a:prstGeom>
          <a:solidFill>
            <a:srgbClr val="FFFFFF"/>
          </a:solidFill>
          <a:ln>
            <a:noFill/>
          </a:ln>
          <a:effectLst>
            <a:outerShdw blurRad="285750" algn="bl" rotWithShape="0">
              <a:srgbClr val="000000">
                <a:alpha val="1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" name="Google Shape;75;p14"/>
          <p:cNvSpPr txBox="1">
            <a:spLocks noGrp="1"/>
          </p:cNvSpPr>
          <p:nvPr>
            <p:ph type="subTitle" idx="1"/>
          </p:nvPr>
        </p:nvSpPr>
        <p:spPr>
          <a:xfrm>
            <a:off x="528725" y="1354100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14"/>
          <p:cNvSpPr txBox="1">
            <a:spLocks noGrp="1"/>
          </p:cNvSpPr>
          <p:nvPr>
            <p:ph type="subTitle" idx="2"/>
          </p:nvPr>
        </p:nvSpPr>
        <p:spPr>
          <a:xfrm>
            <a:off x="528650" y="2091508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7" name="Google Shape;77;p14"/>
          <p:cNvSpPr txBox="1">
            <a:spLocks noGrp="1"/>
          </p:cNvSpPr>
          <p:nvPr>
            <p:ph type="subTitle" idx="3"/>
          </p:nvPr>
        </p:nvSpPr>
        <p:spPr>
          <a:xfrm>
            <a:off x="528650" y="1506500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8" name="Google Shape;78;p14"/>
          <p:cNvSpPr txBox="1">
            <a:spLocks noGrp="1"/>
          </p:cNvSpPr>
          <p:nvPr>
            <p:ph type="subTitle" idx="4"/>
          </p:nvPr>
        </p:nvSpPr>
        <p:spPr>
          <a:xfrm>
            <a:off x="528650" y="2889825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9" name="Google Shape;79;p14"/>
          <p:cNvSpPr txBox="1">
            <a:spLocks noGrp="1"/>
          </p:cNvSpPr>
          <p:nvPr>
            <p:ph type="subTitle" idx="5"/>
          </p:nvPr>
        </p:nvSpPr>
        <p:spPr>
          <a:xfrm>
            <a:off x="528575" y="3627233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0" name="Google Shape;80;p14"/>
          <p:cNvSpPr txBox="1">
            <a:spLocks noGrp="1"/>
          </p:cNvSpPr>
          <p:nvPr>
            <p:ph type="subTitle" idx="6"/>
          </p:nvPr>
        </p:nvSpPr>
        <p:spPr>
          <a:xfrm>
            <a:off x="528575" y="3042225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14"/>
          <p:cNvSpPr txBox="1">
            <a:spLocks noGrp="1"/>
          </p:cNvSpPr>
          <p:nvPr>
            <p:ph type="subTitle" idx="7"/>
          </p:nvPr>
        </p:nvSpPr>
        <p:spPr>
          <a:xfrm>
            <a:off x="3353400" y="1354100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2" name="Google Shape;82;p14"/>
          <p:cNvSpPr txBox="1">
            <a:spLocks noGrp="1"/>
          </p:cNvSpPr>
          <p:nvPr>
            <p:ph type="subTitle" idx="8"/>
          </p:nvPr>
        </p:nvSpPr>
        <p:spPr>
          <a:xfrm>
            <a:off x="3353325" y="2091508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14"/>
          <p:cNvSpPr txBox="1">
            <a:spLocks noGrp="1"/>
          </p:cNvSpPr>
          <p:nvPr>
            <p:ph type="subTitle" idx="9"/>
          </p:nvPr>
        </p:nvSpPr>
        <p:spPr>
          <a:xfrm>
            <a:off x="3353325" y="1506500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14"/>
          <p:cNvSpPr txBox="1">
            <a:spLocks noGrp="1"/>
          </p:cNvSpPr>
          <p:nvPr>
            <p:ph type="subTitle" idx="13"/>
          </p:nvPr>
        </p:nvSpPr>
        <p:spPr>
          <a:xfrm>
            <a:off x="3353325" y="2889825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5" name="Google Shape;85;p14"/>
          <p:cNvSpPr txBox="1">
            <a:spLocks noGrp="1"/>
          </p:cNvSpPr>
          <p:nvPr>
            <p:ph type="subTitle" idx="14"/>
          </p:nvPr>
        </p:nvSpPr>
        <p:spPr>
          <a:xfrm>
            <a:off x="3353250" y="3627233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6" name="Google Shape;86;p14"/>
          <p:cNvSpPr txBox="1">
            <a:spLocks noGrp="1"/>
          </p:cNvSpPr>
          <p:nvPr>
            <p:ph type="subTitle" idx="15"/>
          </p:nvPr>
        </p:nvSpPr>
        <p:spPr>
          <a:xfrm>
            <a:off x="3353250" y="3042225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7" name="Google Shape;87;p14"/>
          <p:cNvSpPr txBox="1">
            <a:spLocks noGrp="1"/>
          </p:cNvSpPr>
          <p:nvPr>
            <p:ph type="subTitle" idx="16"/>
          </p:nvPr>
        </p:nvSpPr>
        <p:spPr>
          <a:xfrm>
            <a:off x="6178150" y="1315475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8" name="Google Shape;88;p14"/>
          <p:cNvSpPr txBox="1">
            <a:spLocks noGrp="1"/>
          </p:cNvSpPr>
          <p:nvPr>
            <p:ph type="subTitle" idx="17"/>
          </p:nvPr>
        </p:nvSpPr>
        <p:spPr>
          <a:xfrm>
            <a:off x="6178075" y="2052883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9" name="Google Shape;89;p14"/>
          <p:cNvSpPr txBox="1">
            <a:spLocks noGrp="1"/>
          </p:cNvSpPr>
          <p:nvPr>
            <p:ph type="subTitle" idx="18"/>
          </p:nvPr>
        </p:nvSpPr>
        <p:spPr>
          <a:xfrm>
            <a:off x="6178075" y="1467875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0" name="Google Shape;90;p14"/>
          <p:cNvSpPr txBox="1">
            <a:spLocks noGrp="1"/>
          </p:cNvSpPr>
          <p:nvPr>
            <p:ph type="subTitle" idx="19"/>
          </p:nvPr>
        </p:nvSpPr>
        <p:spPr>
          <a:xfrm>
            <a:off x="6178075" y="2851200"/>
            <a:ext cx="2488500" cy="335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Exo SemiBold"/>
              <a:buNone/>
              <a:defRPr sz="900">
                <a:solidFill>
                  <a:schemeClr val="dk1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1" name="Google Shape;91;p14"/>
          <p:cNvSpPr txBox="1">
            <a:spLocks noGrp="1"/>
          </p:cNvSpPr>
          <p:nvPr>
            <p:ph type="subTitle" idx="20"/>
          </p:nvPr>
        </p:nvSpPr>
        <p:spPr>
          <a:xfrm>
            <a:off x="6178000" y="3588608"/>
            <a:ext cx="2488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 SemiBold"/>
              <a:buNone/>
              <a:defRPr sz="900">
                <a:solidFill>
                  <a:schemeClr val="accent4"/>
                </a:solidFill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2" name="Google Shape;92;p14"/>
          <p:cNvSpPr txBox="1">
            <a:spLocks noGrp="1"/>
          </p:cNvSpPr>
          <p:nvPr>
            <p:ph type="subTitle" idx="21"/>
          </p:nvPr>
        </p:nvSpPr>
        <p:spPr>
          <a:xfrm>
            <a:off x="6178000" y="3003600"/>
            <a:ext cx="2488500" cy="68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Nunito Light"/>
              <a:buNone/>
              <a:defRPr sz="900">
                <a:solidFill>
                  <a:schemeClr val="dk1"/>
                </a:solidFill>
                <a:latin typeface="Nunito Light"/>
                <a:ea typeface="Nunito Light"/>
                <a:cs typeface="Nunito Light"/>
                <a:sym typeface="Nunit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669345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.2 Single Column A">
  <p:cSld name="2.2 Single Column A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15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95" name="Google Shape;95;p15"/>
          <p:cNvSpPr txBox="1">
            <a:spLocks noGrp="1"/>
          </p:cNvSpPr>
          <p:nvPr>
            <p:ph type="subTitle" idx="1"/>
          </p:nvPr>
        </p:nvSpPr>
        <p:spPr>
          <a:xfrm>
            <a:off x="457200" y="136950"/>
            <a:ext cx="4861500" cy="335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96" name="Google Shape;96;p15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7" name="Google Shape;97;p15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15"/>
          <p:cNvSpPr txBox="1">
            <a:spLocks noGrp="1"/>
          </p:cNvSpPr>
          <p:nvPr>
            <p:ph type="body" idx="2"/>
          </p:nvPr>
        </p:nvSpPr>
        <p:spPr>
          <a:xfrm>
            <a:off x="457200" y="841738"/>
            <a:ext cx="8219400" cy="3691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pic>
        <p:nvPicPr>
          <p:cNvPr id="99" name="Google Shape;99;p15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15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1pPr>
            <a:lvl2pPr lvl="1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2pPr>
            <a:lvl3pPr lvl="2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3pPr>
            <a:lvl4pPr lvl="3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4pPr>
            <a:lvl5pPr lvl="4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5pPr>
            <a:lvl6pPr lvl="5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6pPr>
            <a:lvl7pPr lvl="6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7pPr>
            <a:lvl8pPr lvl="7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8pPr>
            <a:lvl9pPr lvl="8" algn="r" rtl="0">
              <a:buNone/>
              <a:defRPr sz="1300">
                <a:latin typeface="Exo Light"/>
                <a:ea typeface="Exo Light"/>
                <a:cs typeface="Exo Light"/>
                <a:sym typeface="Ex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14554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FA7B17"/>
          </p15:clr>
        </p15:guide>
        <p15:guide id="2" pos="288">
          <p15:clr>
            <a:srgbClr val="FA7B17"/>
          </p15:clr>
        </p15:guide>
        <p15:guide id="3" pos="5472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.2 Quarter Slide 1">
  <p:cSld name="16.2 Quarter Slide 1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6"/>
          <p:cNvSpPr/>
          <p:nvPr/>
        </p:nvSpPr>
        <p:spPr>
          <a:xfrm rot="5400000">
            <a:off x="-1124012" y="1016438"/>
            <a:ext cx="5226875" cy="3117150"/>
          </a:xfrm>
          <a:prstGeom prst="flowChartManualInput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16"/>
          <p:cNvSpPr txBox="1">
            <a:spLocks noGrp="1"/>
          </p:cNvSpPr>
          <p:nvPr>
            <p:ph type="title"/>
          </p:nvPr>
        </p:nvSpPr>
        <p:spPr>
          <a:xfrm>
            <a:off x="457200" y="2459150"/>
            <a:ext cx="1776900" cy="451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Playfair Display SemiBold"/>
              <a:buNone/>
              <a:defRPr sz="1800">
                <a:solidFill>
                  <a:schemeClr val="lt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04" name="Google Shape;104;p16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105" name="Google Shape;105;p1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16"/>
          <p:cNvSpPr txBox="1">
            <a:spLocks noGrp="1"/>
          </p:cNvSpPr>
          <p:nvPr>
            <p:ph type="subTitle" idx="1"/>
          </p:nvPr>
        </p:nvSpPr>
        <p:spPr>
          <a:xfrm>
            <a:off x="457200" y="1962025"/>
            <a:ext cx="1888500" cy="335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107" name="Google Shape;107;p16"/>
          <p:cNvSpPr txBox="1">
            <a:spLocks noGrp="1"/>
          </p:cNvSpPr>
          <p:nvPr>
            <p:ph type="body" idx="2"/>
          </p:nvPr>
        </p:nvSpPr>
        <p:spPr>
          <a:xfrm>
            <a:off x="3494825" y="457200"/>
            <a:ext cx="5181600" cy="4000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98135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5">
  <p:cSld name="Title and body 5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1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1" name="Google Shape;111;p17"/>
          <p:cNvSpPr txBox="1">
            <a:spLocks noGrp="1"/>
          </p:cNvSpPr>
          <p:nvPr>
            <p:ph type="sldNum" idx="12"/>
          </p:nvPr>
        </p:nvSpPr>
        <p:spPr>
          <a:xfrm>
            <a:off x="768900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9E9E9E"/>
                </a:solidFill>
                <a:latin typeface="Exo"/>
                <a:ea typeface="Exo"/>
                <a:cs typeface="Exo"/>
                <a:sym typeface="Exo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70273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6">
  <p:cSld name="Title and body 6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18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5" name="Google Shape;115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304391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AND_BODY_23">
  <p:cSld name="TITLE_AND_BODY_23"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1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1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/>
            </a:lvl1pPr>
            <a:lvl2pPr marL="914400" lvl="1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l" rtl="0">
              <a:lnSpc>
                <a:spcPct val="115000"/>
              </a:lnSpc>
              <a:spcBef>
                <a:spcPts val="500"/>
              </a:spcBef>
              <a:spcAft>
                <a:spcPts val="50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119" name="Google Shape;119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63309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.2 Single Column A 1">
  <p:cSld name="2.2 Single Column A 1"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p20"/>
          <p:cNvSpPr txBox="1">
            <a:spLocks noGrp="1"/>
          </p:cNvSpPr>
          <p:nvPr>
            <p:ph type="subTitle" idx="1"/>
          </p:nvPr>
        </p:nvSpPr>
        <p:spPr>
          <a:xfrm>
            <a:off x="457200" y="136950"/>
            <a:ext cx="48615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122" name="Google Shape;122;p20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" name="Google Shape;123;p20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20"/>
          <p:cNvSpPr txBox="1">
            <a:spLocks noGrp="1"/>
          </p:cNvSpPr>
          <p:nvPr>
            <p:ph type="body" idx="2"/>
          </p:nvPr>
        </p:nvSpPr>
        <p:spPr>
          <a:xfrm>
            <a:off x="457200" y="841738"/>
            <a:ext cx="8219400" cy="369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l" rtl="0">
              <a:lnSpc>
                <a:spcPct val="115000"/>
              </a:lnSpc>
              <a:spcBef>
                <a:spcPts val="500"/>
              </a:spcBef>
              <a:spcAft>
                <a:spcPts val="50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pic>
        <p:nvPicPr>
          <p:cNvPr id="125" name="Google Shape;125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26" name="Google Shape;126;p20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0133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FA7B17"/>
          </p15:clr>
        </p15:guide>
        <p15:guide id="2" pos="288">
          <p15:clr>
            <a:srgbClr val="FA7B17"/>
          </p15:clr>
        </p15:guide>
        <p15:guide id="3" pos="5472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450903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8">
  <p:cSld name="Title and body 8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2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30" name="Google Shape;130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11071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Double Column">
  <p:cSld name="5 Double Column"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p22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33" name="Google Shape;133;p22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22"/>
          <p:cNvSpPr txBox="1">
            <a:spLocks noGrp="1"/>
          </p:cNvSpPr>
          <p:nvPr>
            <p:ph type="subTitle" idx="1"/>
          </p:nvPr>
        </p:nvSpPr>
        <p:spPr>
          <a:xfrm>
            <a:off x="457200" y="942200"/>
            <a:ext cx="8219400" cy="21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Exo Light"/>
              <a:buNone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35" name="Google Shape;135;p22"/>
          <p:cNvSpPr txBox="1">
            <a:spLocks noGrp="1"/>
          </p:cNvSpPr>
          <p:nvPr>
            <p:ph type="subTitle" idx="2"/>
          </p:nvPr>
        </p:nvSpPr>
        <p:spPr>
          <a:xfrm>
            <a:off x="457200" y="136950"/>
            <a:ext cx="4861500" cy="335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136" name="Google Shape;136;p22"/>
          <p:cNvSpPr txBox="1">
            <a:spLocks noGrp="1"/>
          </p:cNvSpPr>
          <p:nvPr>
            <p:ph type="ctrTitle" idx="3"/>
          </p:nvPr>
        </p:nvSpPr>
        <p:spPr>
          <a:xfrm>
            <a:off x="457200" y="1294900"/>
            <a:ext cx="2354100" cy="26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300"/>
              <a:buFont typeface="Exo SemiBold"/>
              <a:buNone/>
              <a:defRPr sz="1300"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9pPr>
          </a:lstStyle>
          <a:p>
            <a:endParaRPr/>
          </a:p>
        </p:txBody>
      </p:sp>
      <p:sp>
        <p:nvSpPr>
          <p:cNvPr id="137" name="Google Shape;137;p22"/>
          <p:cNvSpPr txBox="1">
            <a:spLocks noGrp="1"/>
          </p:cNvSpPr>
          <p:nvPr>
            <p:ph type="body" idx="4"/>
          </p:nvPr>
        </p:nvSpPr>
        <p:spPr>
          <a:xfrm>
            <a:off x="462300" y="1562400"/>
            <a:ext cx="3806700" cy="2895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  <p:sp>
        <p:nvSpPr>
          <p:cNvPr id="138" name="Google Shape;138;p22"/>
          <p:cNvSpPr txBox="1">
            <a:spLocks noGrp="1"/>
          </p:cNvSpPr>
          <p:nvPr>
            <p:ph type="ctrTitle" idx="5"/>
          </p:nvPr>
        </p:nvSpPr>
        <p:spPr>
          <a:xfrm>
            <a:off x="4876800" y="1294900"/>
            <a:ext cx="2354100" cy="26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300"/>
              <a:buFont typeface="Exo SemiBold"/>
              <a:buNone/>
              <a:defRPr sz="1300">
                <a:latin typeface="Exo SemiBold"/>
                <a:ea typeface="Exo SemiBold"/>
                <a:cs typeface="Exo SemiBold"/>
                <a:sym typeface="Exo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100"/>
              <a:buFont typeface="Exo"/>
              <a:buNone/>
              <a:defRPr sz="1100">
                <a:latin typeface="Exo"/>
                <a:ea typeface="Exo"/>
                <a:cs typeface="Exo"/>
                <a:sym typeface="Exo"/>
              </a:defRPr>
            </a:lvl9pPr>
          </a:lstStyle>
          <a:p>
            <a:endParaRPr/>
          </a:p>
        </p:txBody>
      </p:sp>
      <p:sp>
        <p:nvSpPr>
          <p:cNvPr id="139" name="Google Shape;139;p22"/>
          <p:cNvSpPr txBox="1">
            <a:spLocks noGrp="1"/>
          </p:cNvSpPr>
          <p:nvPr>
            <p:ph type="body" idx="6"/>
          </p:nvPr>
        </p:nvSpPr>
        <p:spPr>
          <a:xfrm>
            <a:off x="4881900" y="1562400"/>
            <a:ext cx="3806700" cy="2895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  <p:sp>
        <p:nvSpPr>
          <p:cNvPr id="140" name="Google Shape;140;p22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41" name="Google Shape;141;p22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08981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A7B17"/>
          </p15:clr>
        </p15:guide>
        <p15:guide id="2" pos="5472">
          <p15:clr>
            <a:srgbClr val="FA7B17"/>
          </p15:clr>
        </p15:guide>
        <p15:guide id="3" orient="horz" pos="288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le and body">
  <p:cSld name="2 Title and body"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23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23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 b="0" i="0" u="none" strike="noStrike" cap="none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45" name="Google Shape;145;p23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" name="Google Shape;146;p23"/>
          <p:cNvSpPr txBox="1">
            <a:spLocks noGrp="1"/>
          </p:cNvSpPr>
          <p:nvPr>
            <p:ph type="body" idx="1"/>
          </p:nvPr>
        </p:nvSpPr>
        <p:spPr>
          <a:xfrm>
            <a:off x="457200" y="1277900"/>
            <a:ext cx="8219400" cy="317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l" rtl="0">
              <a:lnSpc>
                <a:spcPct val="115000"/>
              </a:lnSpc>
              <a:spcBef>
                <a:spcPts val="500"/>
              </a:spcBef>
              <a:spcAft>
                <a:spcPts val="50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147" name="Google Shape;147;p23"/>
          <p:cNvSpPr txBox="1">
            <a:spLocks noGrp="1"/>
          </p:cNvSpPr>
          <p:nvPr>
            <p:ph type="subTitle" idx="2"/>
          </p:nvPr>
        </p:nvSpPr>
        <p:spPr>
          <a:xfrm>
            <a:off x="457200" y="942200"/>
            <a:ext cx="82194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Exo Light"/>
              <a:buNone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48" name="Google Shape;148;p23"/>
          <p:cNvSpPr txBox="1">
            <a:spLocks noGrp="1"/>
          </p:cNvSpPr>
          <p:nvPr>
            <p:ph type="subTitle" idx="3"/>
          </p:nvPr>
        </p:nvSpPr>
        <p:spPr>
          <a:xfrm>
            <a:off x="457200" y="136950"/>
            <a:ext cx="48615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pic>
        <p:nvPicPr>
          <p:cNvPr id="149" name="Google Shape;149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50" name="Google Shape;150;p23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20839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A7B17"/>
          </p15:clr>
        </p15:guide>
        <p15:guide id="2" orient="horz" pos="288">
          <p15:clr>
            <a:srgbClr val="FA7B17"/>
          </p15:clr>
        </p15:guide>
        <p15:guide id="3" pos="5472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le and body 1">
  <p:cSld name="2 Title and body 1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24"/>
          <p:cNvSpPr txBox="1">
            <a:spLocks noGrp="1"/>
          </p:cNvSpPr>
          <p:nvPr>
            <p:ph type="title"/>
          </p:nvPr>
        </p:nvSpPr>
        <p:spPr>
          <a:xfrm>
            <a:off x="457200" y="481675"/>
            <a:ext cx="8219400" cy="45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Playfair Display SemiBold"/>
              <a:buNone/>
              <a:defRPr sz="1800">
                <a:latin typeface="Playfair Display SemiBold"/>
                <a:ea typeface="Playfair Display SemiBold"/>
                <a:cs typeface="Playfair Display SemiBold"/>
                <a:sym typeface="Playfair Display SemiBold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/>
            </a:lvl9pPr>
          </a:lstStyle>
          <a:p>
            <a:endParaRPr/>
          </a:p>
        </p:txBody>
      </p:sp>
      <p:sp>
        <p:nvSpPr>
          <p:cNvPr id="153" name="Google Shape;153;p24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‹#›</a:t>
            </a:fld>
            <a:endParaRPr sz="1000" b="0" i="0" u="none" strike="noStrike" cap="none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54" name="Google Shape;154;p24"/>
          <p:cNvSpPr/>
          <p:nvPr/>
        </p:nvSpPr>
        <p:spPr>
          <a:xfrm rot="10800000">
            <a:off x="5158375" y="-9450"/>
            <a:ext cx="3995100" cy="643200"/>
          </a:xfrm>
          <a:prstGeom prst="rtTriangle">
            <a:avLst/>
          </a:prstGeom>
          <a:gradFill>
            <a:gsLst>
              <a:gs pos="0">
                <a:srgbClr val="23213A"/>
              </a:gs>
              <a:gs pos="100000">
                <a:srgbClr val="34237E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" name="Google Shape;155;p24"/>
          <p:cNvSpPr txBox="1">
            <a:spLocks noGrp="1"/>
          </p:cNvSpPr>
          <p:nvPr>
            <p:ph type="body" idx="1"/>
          </p:nvPr>
        </p:nvSpPr>
        <p:spPr>
          <a:xfrm>
            <a:off x="457200" y="1277900"/>
            <a:ext cx="8219400" cy="317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Exo Light"/>
              <a:buChar char="●"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marL="914400" lvl="1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2pPr>
            <a:lvl3pPr marL="1371600" lvl="2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3pPr>
            <a:lvl4pPr marL="1828800" lvl="3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4pPr>
            <a:lvl5pPr marL="2286000" lvl="4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5pPr>
            <a:lvl6pPr marL="2743200" lvl="5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■"/>
              <a:defRPr/>
            </a:lvl6pPr>
            <a:lvl7pPr marL="3200400" lvl="6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●"/>
              <a:defRPr/>
            </a:lvl7pPr>
            <a:lvl8pPr marL="3657600" lvl="7" indent="-292100" algn="l" rtl="0">
              <a:lnSpc>
                <a:spcPct val="115000"/>
              </a:lnSpc>
              <a:spcBef>
                <a:spcPts val="500"/>
              </a:spcBef>
              <a:spcAft>
                <a:spcPts val="0"/>
              </a:spcAft>
              <a:buSzPts val="1000"/>
              <a:buChar char="○"/>
              <a:defRPr/>
            </a:lvl8pPr>
            <a:lvl9pPr marL="4114800" lvl="8" indent="-292100" algn="l" rtl="0">
              <a:lnSpc>
                <a:spcPct val="115000"/>
              </a:lnSpc>
              <a:spcBef>
                <a:spcPts val="500"/>
              </a:spcBef>
              <a:spcAft>
                <a:spcPts val="500"/>
              </a:spcAft>
              <a:buSzPts val="1000"/>
              <a:buChar char="■"/>
              <a:defRPr/>
            </a:lvl9pPr>
          </a:lstStyle>
          <a:p>
            <a:endParaRPr/>
          </a:p>
        </p:txBody>
      </p:sp>
      <p:sp>
        <p:nvSpPr>
          <p:cNvPr id="156" name="Google Shape;156;p24"/>
          <p:cNvSpPr txBox="1">
            <a:spLocks noGrp="1"/>
          </p:cNvSpPr>
          <p:nvPr>
            <p:ph type="subTitle" idx="2"/>
          </p:nvPr>
        </p:nvSpPr>
        <p:spPr>
          <a:xfrm>
            <a:off x="457200" y="942200"/>
            <a:ext cx="82194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Exo Light"/>
              <a:buNone/>
              <a:defRPr>
                <a:latin typeface="Exo Light"/>
                <a:ea typeface="Exo Light"/>
                <a:cs typeface="Exo Light"/>
                <a:sym typeface="Exo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57" name="Google Shape;157;p24"/>
          <p:cNvSpPr txBox="1">
            <a:spLocks noGrp="1"/>
          </p:cNvSpPr>
          <p:nvPr>
            <p:ph type="subTitle" idx="3"/>
          </p:nvPr>
        </p:nvSpPr>
        <p:spPr>
          <a:xfrm>
            <a:off x="457200" y="136950"/>
            <a:ext cx="4861500" cy="3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Exo"/>
              <a:buNone/>
              <a:defRPr sz="900" b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accent4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None/>
              <a:defRPr sz="2800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pic>
        <p:nvPicPr>
          <p:cNvPr id="158" name="Google Shape;158;p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2267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A7B17"/>
          </p15:clr>
        </p15:guide>
        <p15:guide id="2" orient="horz" pos="288">
          <p15:clr>
            <a:srgbClr val="FA7B17"/>
          </p15:clr>
        </p15:guide>
        <p15:guide id="3" pos="5472">
          <p15:clr>
            <a:srgbClr val="FA7B17"/>
          </p15:clr>
        </p15:guide>
        <p15:guide id="4" orient="horz" pos="2808">
          <p15:clr>
            <a:srgbClr val="FA7B17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92044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86328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92483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967732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73966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436697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75693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74B42D2-0F51-2C2A-DC71-6AE714F12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19909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69" imgH="469" progId="TCLayout.ActiveDocument.1">
                  <p:embed/>
                </p:oleObj>
              </mc:Choice>
              <mc:Fallback>
                <p:oleObj name="think-cell Slide" r:id="rId26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622402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68_0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04" name="Google Shape;5304;p362"/>
          <p:cNvGraphicFramePr/>
          <p:nvPr/>
        </p:nvGraphicFramePr>
        <p:xfrm>
          <a:off x="457200" y="906091"/>
          <a:ext cx="8230800" cy="41060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3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63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4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6947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23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" sz="1000" b="1" u="none" strike="noStrike" cap="none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elect Manifold </a:t>
                      </a: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projects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RP implement.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hange management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arget state p</a:t>
                      </a:r>
                      <a:r>
                        <a:rPr lang="en" sz="1000" b="1" u="none" strike="noStrike" cap="none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rocess </a:t>
                      </a: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sign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cosystem / tech arch.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I / D&amp;A </a:t>
                      </a:r>
                      <a:endParaRPr sz="1000" b="1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trategy</a:t>
                      </a:r>
                      <a:endParaRPr sz="1000" b="1" u="none" strike="noStrike" cap="none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b="1">
                          <a:solidFill>
                            <a:schemeClr val="accen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-commerce</a:t>
                      </a:r>
                      <a:endParaRPr sz="1000" b="1">
                        <a:solidFill>
                          <a:schemeClr val="accen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SAP implementation and process improvement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Process design and tech stack selection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23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Built AI engine for market landscape monitoring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0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eCommerce strategy and B2B portal solution management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Technology architecture assessment and design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Enterprise architecture transformation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6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solidFill>
                            <a:schemeClr val="dk2"/>
                          </a:solidFill>
                          <a:latin typeface="Exo Light"/>
                          <a:ea typeface="Exo Light"/>
                          <a:cs typeface="Exo Light"/>
                          <a:sym typeface="Exo Light"/>
                        </a:rPr>
                        <a:t>Design and implementation of analytics-based workflows </a:t>
                      </a:r>
                      <a:endParaRPr sz="100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40005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u="none" strike="noStrike" cap="none" dirty="0">
                        <a:solidFill>
                          <a:schemeClr val="dk2"/>
                        </a:solidFill>
                        <a:latin typeface="Exo Light"/>
                        <a:ea typeface="Exo Light"/>
                        <a:cs typeface="Exo Light"/>
                        <a:sym typeface="Exo Light"/>
                      </a:endParaRPr>
                    </a:p>
                  </a:txBody>
                  <a:tcPr marL="27425" marR="27425" marT="91425" marB="91425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305" name="Google Shape;5305;p362"/>
          <p:cNvSpPr txBox="1"/>
          <p:nvPr/>
        </p:nvSpPr>
        <p:spPr>
          <a:xfrm>
            <a:off x="381000" y="544200"/>
            <a:ext cx="777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Our team’s relevant experience across </a:t>
            </a:r>
            <a:r>
              <a:rPr lang="en" sz="1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xxx’s digital priorities</a:t>
            </a:r>
            <a:r>
              <a:rPr lang="en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5306" name="Google Shape;5306;p362"/>
          <p:cNvSpPr/>
          <p:nvPr/>
        </p:nvSpPr>
        <p:spPr>
          <a:xfrm>
            <a:off x="465096" y="1505422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07" name="Google Shape;5307;p362"/>
          <p:cNvSpPr/>
          <p:nvPr/>
        </p:nvSpPr>
        <p:spPr>
          <a:xfrm>
            <a:off x="465096" y="2001346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2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08" name="Google Shape;5308;p362"/>
          <p:cNvSpPr/>
          <p:nvPr/>
        </p:nvSpPr>
        <p:spPr>
          <a:xfrm>
            <a:off x="474446" y="2474075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3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09" name="Google Shape;5309;p362"/>
          <p:cNvSpPr/>
          <p:nvPr/>
        </p:nvSpPr>
        <p:spPr>
          <a:xfrm>
            <a:off x="474446" y="2967968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4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0" name="Google Shape;5310;p362"/>
          <p:cNvSpPr/>
          <p:nvPr/>
        </p:nvSpPr>
        <p:spPr>
          <a:xfrm>
            <a:off x="474446" y="3517908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5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1" name="Google Shape;5311;p362"/>
          <p:cNvSpPr/>
          <p:nvPr/>
        </p:nvSpPr>
        <p:spPr>
          <a:xfrm>
            <a:off x="3265379" y="1491251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5312" name="Google Shape;5312;p36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5313" name="Google Shape;5313;p362"/>
          <p:cNvSpPr/>
          <p:nvPr/>
        </p:nvSpPr>
        <p:spPr>
          <a:xfrm>
            <a:off x="5189894" y="1491251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4" name="Google Shape;5314;p362"/>
          <p:cNvSpPr/>
          <p:nvPr/>
        </p:nvSpPr>
        <p:spPr>
          <a:xfrm>
            <a:off x="4227636" y="1491251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5" name="Google Shape;5315;p362"/>
          <p:cNvSpPr/>
          <p:nvPr/>
        </p:nvSpPr>
        <p:spPr>
          <a:xfrm>
            <a:off x="5189894" y="2000722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6" name="Google Shape;5316;p362"/>
          <p:cNvSpPr/>
          <p:nvPr/>
        </p:nvSpPr>
        <p:spPr>
          <a:xfrm>
            <a:off x="6171104" y="2000722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7" name="Google Shape;5317;p362"/>
          <p:cNvSpPr/>
          <p:nvPr/>
        </p:nvSpPr>
        <p:spPr>
          <a:xfrm>
            <a:off x="7117855" y="2470023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8" name="Google Shape;5318;p362"/>
          <p:cNvSpPr/>
          <p:nvPr/>
        </p:nvSpPr>
        <p:spPr>
          <a:xfrm>
            <a:off x="8108455" y="2998098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19" name="Google Shape;5319;p362"/>
          <p:cNvSpPr/>
          <p:nvPr/>
        </p:nvSpPr>
        <p:spPr>
          <a:xfrm>
            <a:off x="5189894" y="2998098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0" name="Google Shape;5320;p362"/>
          <p:cNvSpPr/>
          <p:nvPr/>
        </p:nvSpPr>
        <p:spPr>
          <a:xfrm>
            <a:off x="4255979" y="2998098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1" name="Google Shape;5321;p362"/>
          <p:cNvSpPr/>
          <p:nvPr/>
        </p:nvSpPr>
        <p:spPr>
          <a:xfrm>
            <a:off x="3265379" y="351630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2" name="Google Shape;5322;p362"/>
          <p:cNvSpPr/>
          <p:nvPr/>
        </p:nvSpPr>
        <p:spPr>
          <a:xfrm>
            <a:off x="4255979" y="351630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3" name="Google Shape;5323;p362"/>
          <p:cNvSpPr/>
          <p:nvPr/>
        </p:nvSpPr>
        <p:spPr>
          <a:xfrm>
            <a:off x="5189894" y="351630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4" name="Google Shape;5324;p362"/>
          <p:cNvSpPr/>
          <p:nvPr/>
        </p:nvSpPr>
        <p:spPr>
          <a:xfrm>
            <a:off x="6171104" y="351630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5" name="Google Shape;5325;p362"/>
          <p:cNvSpPr/>
          <p:nvPr/>
        </p:nvSpPr>
        <p:spPr>
          <a:xfrm>
            <a:off x="474446" y="4453216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7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6" name="Google Shape;5326;p362"/>
          <p:cNvSpPr/>
          <p:nvPr/>
        </p:nvSpPr>
        <p:spPr>
          <a:xfrm>
            <a:off x="7117855" y="4484720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7" name="Google Shape;5327;p362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rgbClr val="D6D0E8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>
              <a:solidFill>
                <a:srgbClr val="D6D0E8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8" name="Google Shape;5328;p362"/>
          <p:cNvSpPr/>
          <p:nvPr/>
        </p:nvSpPr>
        <p:spPr>
          <a:xfrm>
            <a:off x="5189894" y="2470023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29" name="Google Shape;5329;p362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30" name="Google Shape;5330;p362"/>
          <p:cNvSpPr/>
          <p:nvPr/>
        </p:nvSpPr>
        <p:spPr>
          <a:xfrm>
            <a:off x="474446" y="3977777"/>
            <a:ext cx="242700" cy="23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6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331" name="Google Shape;5331;p362"/>
          <p:cNvSpPr/>
          <p:nvPr/>
        </p:nvSpPr>
        <p:spPr>
          <a:xfrm>
            <a:off x="6171104" y="4000859"/>
            <a:ext cx="242700" cy="233700"/>
          </a:xfrm>
          <a:prstGeom prst="ellipse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1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✓</a:t>
            </a:r>
            <a:endParaRPr sz="1000" b="1" i="0" u="none" strike="noStrike" cap="none">
              <a:solidFill>
                <a:schemeClr val="lt1"/>
              </a:solidFill>
              <a:latin typeface="Exo"/>
              <a:ea typeface="Exo"/>
              <a:cs typeface="Exo"/>
              <a:sym typeface="Exo"/>
            </a:endParaRPr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23213A"/>
      </a:dk1>
      <a:lt1>
        <a:srgbClr val="FFFFFF"/>
      </a:lt1>
      <a:dk2>
        <a:srgbClr val="4B4662"/>
      </a:dk2>
      <a:lt2>
        <a:srgbClr val="D6D0E8"/>
      </a:lt2>
      <a:accent1>
        <a:srgbClr val="34237E"/>
      </a:accent1>
      <a:accent2>
        <a:srgbClr val="FFD10F"/>
      </a:accent2>
      <a:accent3>
        <a:srgbClr val="02EAEA"/>
      </a:accent3>
      <a:accent4>
        <a:srgbClr val="E90A6D"/>
      </a:accent4>
      <a:accent5>
        <a:srgbClr val="981CBC"/>
      </a:accent5>
      <a:accent6>
        <a:srgbClr val="EFEFEF"/>
      </a:accent6>
      <a:hlink>
        <a:srgbClr val="E90A6D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3C030951-972D-40C0-8C02-D7FCE2FBCFA4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E23B069F-071A-4D48-96A2-533991D8037B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1</TotalTime>
  <Words>96</Words>
  <Application>Microsoft Office PowerPoint</Application>
  <PresentationFormat>On-screen Show (16:9)</PresentationFormat>
  <Paragraphs>4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Exo SemiBold</vt:lpstr>
      <vt:lpstr>Exo</vt:lpstr>
      <vt:lpstr>Playfair Display SemiBold</vt:lpstr>
      <vt:lpstr>Arial</vt:lpstr>
      <vt:lpstr>Exo Light</vt:lpstr>
      <vt:lpstr>Nunito Light</vt:lpstr>
      <vt:lpstr>Simple Light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6</cp:revision>
  <dcterms:modified xsi:type="dcterms:W3CDTF">2025-09-24T16:37:55Z</dcterms:modified>
</cp:coreProperties>
</file>